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66" r:id="rId5"/>
    <p:sldId id="257" r:id="rId6"/>
    <p:sldId id="263" r:id="rId7"/>
    <p:sldId id="265" r:id="rId8"/>
    <p:sldId id="258" r:id="rId9"/>
    <p:sldId id="259" r:id="rId10"/>
    <p:sldId id="261" r:id="rId11"/>
    <p:sldId id="268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pos="7296" userDrawn="1">
          <p15:clr>
            <a:srgbClr val="A4A3A4"/>
          </p15:clr>
        </p15:guide>
        <p15:guide id="5" orient="horz" pos="4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83DDC6-D489-D00A-7688-E4E13CE2893D}" name="Demircubuk, Ilayda" initials="DI" userId="S::ilayda.demircubuk@vaillant-group.com::fdfe8639-de0c-434e-a3f7-ef9709ef995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77777"/>
    <a:srgbClr val="E1D0DD"/>
    <a:srgbClr val="C6A4BA"/>
    <a:srgbClr val="85A0BF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26A858-E1BE-4FA2-A38A-2622E429B1A0}" v="1" dt="2023-10-27T17:34:50.2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5" autoAdjust="0"/>
    <p:restoredTop sz="96242" autoAdjust="0"/>
  </p:normalViewPr>
  <p:slideViewPr>
    <p:cSldViewPr showGuides="1">
      <p:cViewPr varScale="1">
        <p:scale>
          <a:sx n="77" d="100"/>
          <a:sy n="77" d="100"/>
        </p:scale>
        <p:origin x="228" y="72"/>
      </p:cViewPr>
      <p:guideLst>
        <p:guide orient="horz" pos="1117"/>
        <p:guide pos="438"/>
        <p:guide orient="horz" pos="3936"/>
        <p:guide pos="7296"/>
        <p:guide orient="horz" pos="4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6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zlumoglu, Abdurrahim" userId="eadf2c61-dbc0-4978-b481-ff77f085ff00" providerId="ADAL" clId="{0926A858-E1BE-4FA2-A38A-2622E429B1A0}"/>
    <pc:docChg chg="undo custSel modSld">
      <pc:chgData name="Mazlumoglu, Abdurrahim" userId="eadf2c61-dbc0-4978-b481-ff77f085ff00" providerId="ADAL" clId="{0926A858-E1BE-4FA2-A38A-2622E429B1A0}" dt="2023-10-27T20:43:43.959" v="649" actId="20577"/>
      <pc:docMkLst>
        <pc:docMk/>
      </pc:docMkLst>
      <pc:sldChg chg="modSp mod">
        <pc:chgData name="Mazlumoglu, Abdurrahim" userId="eadf2c61-dbc0-4978-b481-ff77f085ff00" providerId="ADAL" clId="{0926A858-E1BE-4FA2-A38A-2622E429B1A0}" dt="2023-10-27T20:37:39.072" v="642" actId="20577"/>
        <pc:sldMkLst>
          <pc:docMk/>
          <pc:sldMk cId="839317597" sldId="257"/>
        </pc:sldMkLst>
        <pc:spChg chg="mod">
          <ac:chgData name="Mazlumoglu, Abdurrahim" userId="eadf2c61-dbc0-4978-b481-ff77f085ff00" providerId="ADAL" clId="{0926A858-E1BE-4FA2-A38A-2622E429B1A0}" dt="2023-10-27T20:37:39.072" v="642" actId="20577"/>
          <ac:spMkLst>
            <pc:docMk/>
            <pc:sldMk cId="839317597" sldId="257"/>
            <ac:spMk id="15" creationId="{87A37D7D-7E73-4745-A202-997C62F51A8F}"/>
          </ac:spMkLst>
        </pc:spChg>
        <pc:spChg chg="mod">
          <ac:chgData name="Mazlumoglu, Abdurrahim" userId="eadf2c61-dbc0-4978-b481-ff77f085ff00" providerId="ADAL" clId="{0926A858-E1BE-4FA2-A38A-2622E429B1A0}" dt="2023-10-27T17:22:36.854" v="55" actId="20577"/>
          <ac:spMkLst>
            <pc:docMk/>
            <pc:sldMk cId="839317597" sldId="257"/>
            <ac:spMk id="16" creationId="{91FAF885-0D61-475B-B9B2-7455B3C284B5}"/>
          </ac:spMkLst>
        </pc:spChg>
        <pc:spChg chg="mod">
          <ac:chgData name="Mazlumoglu, Abdurrahim" userId="eadf2c61-dbc0-4978-b481-ff77f085ff00" providerId="ADAL" clId="{0926A858-E1BE-4FA2-A38A-2622E429B1A0}" dt="2023-10-27T17:23:41.757" v="154" actId="6549"/>
          <ac:spMkLst>
            <pc:docMk/>
            <pc:sldMk cId="839317597" sldId="257"/>
            <ac:spMk id="47" creationId="{14E05CFB-84ED-4C0C-905A-0AA598AA9853}"/>
          </ac:spMkLst>
        </pc:spChg>
      </pc:sldChg>
      <pc:sldChg chg="modSp mod">
        <pc:chgData name="Mazlumoglu, Abdurrahim" userId="eadf2c61-dbc0-4978-b481-ff77f085ff00" providerId="ADAL" clId="{0926A858-E1BE-4FA2-A38A-2622E429B1A0}" dt="2023-10-27T17:32:06.095" v="382" actId="20577"/>
        <pc:sldMkLst>
          <pc:docMk/>
          <pc:sldMk cId="2228839296" sldId="258"/>
        </pc:sldMkLst>
        <pc:graphicFrameChg chg="modGraphic">
          <ac:chgData name="Mazlumoglu, Abdurrahim" userId="eadf2c61-dbc0-4978-b481-ff77f085ff00" providerId="ADAL" clId="{0926A858-E1BE-4FA2-A38A-2622E429B1A0}" dt="2023-10-27T17:32:06.095" v="382" actId="20577"/>
          <ac:graphicFrameMkLst>
            <pc:docMk/>
            <pc:sldMk cId="2228839296" sldId="258"/>
            <ac:graphicFrameMk id="6" creationId="{17754BDA-7893-418A-B433-08E7D38599E4}"/>
          </ac:graphicFrameMkLst>
        </pc:graphicFrameChg>
      </pc:sldChg>
      <pc:sldChg chg="modSp mod">
        <pc:chgData name="Mazlumoglu, Abdurrahim" userId="eadf2c61-dbc0-4978-b481-ff77f085ff00" providerId="ADAL" clId="{0926A858-E1BE-4FA2-A38A-2622E429B1A0}" dt="2023-10-27T20:42:53.441" v="647" actId="20577"/>
        <pc:sldMkLst>
          <pc:docMk/>
          <pc:sldMk cId="195194428" sldId="259"/>
        </pc:sldMkLst>
        <pc:graphicFrameChg chg="modGraphic">
          <ac:chgData name="Mazlumoglu, Abdurrahim" userId="eadf2c61-dbc0-4978-b481-ff77f085ff00" providerId="ADAL" clId="{0926A858-E1BE-4FA2-A38A-2622E429B1A0}" dt="2023-10-27T20:42:53.441" v="647" actId="20577"/>
          <ac:graphicFrameMkLst>
            <pc:docMk/>
            <pc:sldMk cId="195194428" sldId="259"/>
            <ac:graphicFrameMk id="6" creationId="{17754BDA-7893-418A-B433-08E7D38599E4}"/>
          </ac:graphicFrameMkLst>
        </pc:graphicFrameChg>
      </pc:sldChg>
      <pc:sldChg chg="modSp mod">
        <pc:chgData name="Mazlumoglu, Abdurrahim" userId="eadf2c61-dbc0-4978-b481-ff77f085ff00" providerId="ADAL" clId="{0926A858-E1BE-4FA2-A38A-2622E429B1A0}" dt="2023-10-27T20:26:32.937" v="640" actId="113"/>
        <pc:sldMkLst>
          <pc:docMk/>
          <pc:sldMk cId="1977802142" sldId="261"/>
        </pc:sldMkLst>
        <pc:graphicFrameChg chg="mod modGraphic">
          <ac:chgData name="Mazlumoglu, Abdurrahim" userId="eadf2c61-dbc0-4978-b481-ff77f085ff00" providerId="ADAL" clId="{0926A858-E1BE-4FA2-A38A-2622E429B1A0}" dt="2023-10-27T20:26:32.937" v="640" actId="113"/>
          <ac:graphicFrameMkLst>
            <pc:docMk/>
            <pc:sldMk cId="1977802142" sldId="261"/>
            <ac:graphicFrameMk id="6" creationId="{17754BDA-7893-418A-B433-08E7D38599E4}"/>
          </ac:graphicFrameMkLst>
        </pc:graphicFrameChg>
      </pc:sldChg>
      <pc:sldChg chg="modSp mod">
        <pc:chgData name="Mazlumoglu, Abdurrahim" userId="eadf2c61-dbc0-4978-b481-ff77f085ff00" providerId="ADAL" clId="{0926A858-E1BE-4FA2-A38A-2622E429B1A0}" dt="2023-10-27T17:35:42.122" v="489" actId="108"/>
        <pc:sldMkLst>
          <pc:docMk/>
          <pc:sldMk cId="550125754" sldId="263"/>
        </pc:sldMkLst>
        <pc:spChg chg="mod">
          <ac:chgData name="Mazlumoglu, Abdurrahim" userId="eadf2c61-dbc0-4978-b481-ff77f085ff00" providerId="ADAL" clId="{0926A858-E1BE-4FA2-A38A-2622E429B1A0}" dt="2023-10-27T17:35:42.122" v="489" actId="108"/>
          <ac:spMkLst>
            <pc:docMk/>
            <pc:sldMk cId="550125754" sldId="263"/>
            <ac:spMk id="11" creationId="{3F6353F7-2458-475A-AC37-A942FC3B6443}"/>
          </ac:spMkLst>
        </pc:spChg>
        <pc:spChg chg="mod">
          <ac:chgData name="Mazlumoglu, Abdurrahim" userId="eadf2c61-dbc0-4978-b481-ff77f085ff00" providerId="ADAL" clId="{0926A858-E1BE-4FA2-A38A-2622E429B1A0}" dt="2023-10-27T17:27:28.205" v="232" actId="20577"/>
          <ac:spMkLst>
            <pc:docMk/>
            <pc:sldMk cId="550125754" sldId="263"/>
            <ac:spMk id="15" creationId="{06DA0A39-3E1F-42E4-804F-92698BDF32CE}"/>
          </ac:spMkLst>
        </pc:spChg>
        <pc:spChg chg="mod">
          <ac:chgData name="Mazlumoglu, Abdurrahim" userId="eadf2c61-dbc0-4978-b481-ff77f085ff00" providerId="ADAL" clId="{0926A858-E1BE-4FA2-A38A-2622E429B1A0}" dt="2023-10-27T17:27:44.723" v="235" actId="20577"/>
          <ac:spMkLst>
            <pc:docMk/>
            <pc:sldMk cId="550125754" sldId="263"/>
            <ac:spMk id="17" creationId="{6C1496B9-A88E-4FBB-AEB1-5ABD2D84FB1A}"/>
          </ac:spMkLst>
        </pc:spChg>
      </pc:sldChg>
      <pc:sldChg chg="modSp mod">
        <pc:chgData name="Mazlumoglu, Abdurrahim" userId="eadf2c61-dbc0-4978-b481-ff77f085ff00" providerId="ADAL" clId="{0926A858-E1BE-4FA2-A38A-2622E429B1A0}" dt="2023-10-27T17:30:01.181" v="257" actId="5793"/>
        <pc:sldMkLst>
          <pc:docMk/>
          <pc:sldMk cId="4165815362" sldId="265"/>
        </pc:sldMkLst>
        <pc:spChg chg="mod">
          <ac:chgData name="Mazlumoglu, Abdurrahim" userId="eadf2c61-dbc0-4978-b481-ff77f085ff00" providerId="ADAL" clId="{0926A858-E1BE-4FA2-A38A-2622E429B1A0}" dt="2023-10-27T17:28:15.716" v="244" actId="20577"/>
          <ac:spMkLst>
            <pc:docMk/>
            <pc:sldMk cId="4165815362" sldId="265"/>
            <ac:spMk id="9" creationId="{6F0C6214-22E1-467D-B94F-4A6E6F2C1CC0}"/>
          </ac:spMkLst>
        </pc:spChg>
        <pc:spChg chg="mod">
          <ac:chgData name="Mazlumoglu, Abdurrahim" userId="eadf2c61-dbc0-4978-b481-ff77f085ff00" providerId="ADAL" clId="{0926A858-E1BE-4FA2-A38A-2622E429B1A0}" dt="2023-10-27T17:28:23.333" v="249" actId="5793"/>
          <ac:spMkLst>
            <pc:docMk/>
            <pc:sldMk cId="4165815362" sldId="265"/>
            <ac:spMk id="11" creationId="{3F6353F7-2458-475A-AC37-A942FC3B6443}"/>
          </ac:spMkLst>
        </pc:spChg>
        <pc:spChg chg="mod">
          <ac:chgData name="Mazlumoglu, Abdurrahim" userId="eadf2c61-dbc0-4978-b481-ff77f085ff00" providerId="ADAL" clId="{0926A858-E1BE-4FA2-A38A-2622E429B1A0}" dt="2023-10-27T17:30:01.181" v="257" actId="5793"/>
          <ac:spMkLst>
            <pc:docMk/>
            <pc:sldMk cId="4165815362" sldId="265"/>
            <ac:spMk id="17" creationId="{6C1496B9-A88E-4FBB-AEB1-5ABD2D84FB1A}"/>
          </ac:spMkLst>
        </pc:spChg>
      </pc:sldChg>
      <pc:sldChg chg="modSp mod">
        <pc:chgData name="Mazlumoglu, Abdurrahim" userId="eadf2c61-dbc0-4978-b481-ff77f085ff00" providerId="ADAL" clId="{0926A858-E1BE-4FA2-A38A-2622E429B1A0}" dt="2023-10-27T20:43:43.959" v="649" actId="20577"/>
        <pc:sldMkLst>
          <pc:docMk/>
          <pc:sldMk cId="4201327540" sldId="266"/>
        </pc:sldMkLst>
        <pc:spChg chg="mod">
          <ac:chgData name="Mazlumoglu, Abdurrahim" userId="eadf2c61-dbc0-4978-b481-ff77f085ff00" providerId="ADAL" clId="{0926A858-E1BE-4FA2-A38A-2622E429B1A0}" dt="2023-10-27T20:43:43.959" v="649" actId="20577"/>
          <ac:spMkLst>
            <pc:docMk/>
            <pc:sldMk cId="4201327540" sldId="266"/>
            <ac:spMk id="3" creationId="{CFBA5949-799F-5EB3-7B6C-1E41DDE7BE35}"/>
          </ac:spMkLst>
        </pc:spChg>
      </pc:sldChg>
      <pc:sldChg chg="modSp mod">
        <pc:chgData name="Mazlumoglu, Abdurrahim" userId="eadf2c61-dbc0-4978-b481-ff77f085ff00" providerId="ADAL" clId="{0926A858-E1BE-4FA2-A38A-2622E429B1A0}" dt="2023-10-27T17:37:09.132" v="639" actId="113"/>
        <pc:sldMkLst>
          <pc:docMk/>
          <pc:sldMk cId="613713759" sldId="268"/>
        </pc:sldMkLst>
        <pc:spChg chg="mod">
          <ac:chgData name="Mazlumoglu, Abdurrahim" userId="eadf2c61-dbc0-4978-b481-ff77f085ff00" providerId="ADAL" clId="{0926A858-E1BE-4FA2-A38A-2622E429B1A0}" dt="2023-10-27T17:37:09.132" v="639" actId="113"/>
          <ac:spMkLst>
            <pc:docMk/>
            <pc:sldMk cId="613713759" sldId="268"/>
            <ac:spMk id="7" creationId="{0A9694A5-89DC-63D0-065B-BD30C6CED92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DA92A3-DE71-4D0B-9330-5F8BB4DAAB2F}" type="datetimeFigureOut">
              <a:rPr lang="de-DE" smtClean="0"/>
              <a:t>27.10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1C9BD7-7254-4B1F-AED3-8A35D6FADB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7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0A712B-7664-46C4-AB35-B187D4A7A766}" type="datetimeFigureOut">
              <a:rPr lang="de-DE" smtClean="0"/>
              <a:t>27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061BD5-E424-43FD-AD01-39620E78D65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48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061BD5-E424-43FD-AD01-39620E78D65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424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19651" y="1773238"/>
            <a:ext cx="6948462" cy="865643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19651" y="2648406"/>
            <a:ext cx="6948461" cy="338554"/>
          </a:xfrm>
        </p:spPr>
        <p:txBody>
          <a:bodyPr/>
          <a:lstStyle>
            <a:lvl1pPr marL="0" indent="0" algn="r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613867" y="1033686"/>
            <a:ext cx="6992788" cy="432048"/>
          </a:xfrm>
          <a:prstGeom prst="rect">
            <a:avLst/>
          </a:prstGeom>
          <a:solidFill>
            <a:srgbClr val="85A0BF">
              <a:alpha val="27843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AB2FFB0-AE0F-4547-95FC-CE3A98B358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7347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Rechteck 9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695400" y="6455418"/>
            <a:ext cx="1226509" cy="126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643183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5400" y="702221"/>
            <a:ext cx="10872186" cy="707887"/>
          </a:xfrm>
        </p:spPr>
        <p:txBody>
          <a:bodyPr anchor="ctr"/>
          <a:lstStyle>
            <a:lvl1pPr marL="342000" indent="-288000" algn="l">
              <a:lnSpc>
                <a:spcPct val="100000"/>
              </a:lnSpc>
              <a:buClr>
                <a:schemeClr val="tx2"/>
              </a:buClr>
              <a:buFont typeface="+mj-lt"/>
              <a:buAutoNum type="arabicPeriod"/>
              <a:defRPr sz="20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400" y="1470645"/>
            <a:ext cx="10872187" cy="338554"/>
          </a:xfrm>
        </p:spPr>
        <p:txBody>
          <a:bodyPr anchor="t"/>
          <a:lstStyle>
            <a:lvl1pPr marL="612000" indent="-26640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7777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473318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5400" y="1774031"/>
            <a:ext cx="10872185" cy="4463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647253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6400" indent="-266400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266400" indent="0">
              <a:buNone/>
              <a:defRPr sz="1600">
                <a:solidFill>
                  <a:schemeClr val="tx1"/>
                </a:solidFill>
              </a:defRPr>
            </a:lvl2pPr>
            <a:lvl3pPr marL="370800" indent="0">
              <a:buNone/>
              <a:defRPr sz="1600">
                <a:solidFill>
                  <a:schemeClr val="tx1"/>
                </a:solidFill>
              </a:defRPr>
            </a:lvl3pPr>
            <a:lvl4pPr marL="586800" indent="0">
              <a:buNone/>
              <a:defRPr sz="1600">
                <a:solidFill>
                  <a:schemeClr val="tx1"/>
                </a:solidFill>
              </a:defRPr>
            </a:lvl4pPr>
            <a:lvl5pPr marL="78840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545461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(picture +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5400" y="1774031"/>
            <a:ext cx="5015055" cy="446325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6"/>
          </p:nvPr>
        </p:nvSpPr>
        <p:spPr>
          <a:xfrm>
            <a:off x="5993944" y="1774031"/>
            <a:ext cx="5573642" cy="44632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Rechteck 13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hteck 14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16723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566402" y="1774031"/>
            <a:ext cx="5001183" cy="208525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95401" y="1774031"/>
            <a:ext cx="5583453" cy="20852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563131" y="4064362"/>
            <a:ext cx="5004453" cy="217292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695400" y="4064362"/>
            <a:ext cx="5583215" cy="21729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Rechteck 15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hteck 16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028568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5400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399335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5"/>
          </p:nvPr>
        </p:nvSpPr>
        <p:spPr>
          <a:xfrm>
            <a:off x="8103271" y="177403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95400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399335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8"/>
          </p:nvPr>
        </p:nvSpPr>
        <p:spPr>
          <a:xfrm>
            <a:off x="8103271" y="4107381"/>
            <a:ext cx="3464313" cy="1770004"/>
          </a:xfrm>
        </p:spPr>
        <p:txBody>
          <a:bodyPr anchor="ctr"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9"/>
          </p:nvPr>
        </p:nvSpPr>
        <p:spPr>
          <a:xfrm>
            <a:off x="695400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20"/>
          </p:nvPr>
        </p:nvSpPr>
        <p:spPr>
          <a:xfrm>
            <a:off x="8103271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4399335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22"/>
          </p:nvPr>
        </p:nvSpPr>
        <p:spPr>
          <a:xfrm>
            <a:off x="695400" y="5877386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23"/>
          </p:nvPr>
        </p:nvSpPr>
        <p:spPr>
          <a:xfrm>
            <a:off x="8103271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24"/>
          </p:nvPr>
        </p:nvSpPr>
        <p:spPr>
          <a:xfrm>
            <a:off x="4399335" y="3544034"/>
            <a:ext cx="3464313" cy="359903"/>
          </a:xfrm>
          <a:solidFill>
            <a:srgbClr val="848484"/>
          </a:solidFill>
        </p:spPr>
        <p:txBody>
          <a:bodyPr vert="horz" lIns="72000" tIns="0" rIns="72000" bIns="0" rtlCol="0" anchor="ctr">
            <a:noAutofit/>
          </a:bodyPr>
          <a:lstStyle>
            <a:lvl1pPr marL="169200" indent="-169200">
              <a:buFont typeface="Arial" pitchFamily="34" charset="0"/>
              <a:buNone/>
              <a:defRPr lang="de-DE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Clr>
                <a:srgbClr val="209185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7" name="Rechteck 26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hteck 27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307265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705496" y="1773238"/>
            <a:ext cx="10862089" cy="325387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095817" y="5272922"/>
            <a:ext cx="5134493" cy="9643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695400" y="5272922"/>
            <a:ext cx="5134493" cy="9643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Rechteck 14" hidden="1"/>
          <p:cNvSpPr/>
          <p:nvPr userDrawn="1">
            <p:custDataLst>
              <p:tags r:id="rId1"/>
            </p:custDataLst>
          </p:nvPr>
        </p:nvSpPr>
        <p:spPr>
          <a:xfrm>
            <a:off x="2253342" y="6299795"/>
            <a:ext cx="9922329" cy="453430"/>
          </a:xfrm>
          <a:prstGeom prst="rect">
            <a:avLst/>
          </a:prstGeom>
          <a:solidFill>
            <a:srgbClr val="CB0D26">
              <a:alpha val="3098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5" hidden="1"/>
          <p:cNvSpPr/>
          <p:nvPr userDrawn="1">
            <p:custDataLst>
              <p:tags r:id="rId2"/>
            </p:custDataLst>
          </p:nvPr>
        </p:nvSpPr>
        <p:spPr>
          <a:xfrm>
            <a:off x="598860" y="6325648"/>
            <a:ext cx="1392684" cy="361950"/>
          </a:xfrm>
          <a:prstGeom prst="rect">
            <a:avLst/>
          </a:prstGeom>
          <a:solidFill>
            <a:srgbClr val="85A0BF">
              <a:alpha val="25882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956378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95400" y="1074222"/>
            <a:ext cx="10872187" cy="338554"/>
          </a:xfrm>
        </p:spPr>
        <p:txBody>
          <a:bodyPr/>
          <a:lstStyle>
            <a:lvl1pPr marL="0" indent="-26640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7777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echteck 4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95400" y="6455418"/>
            <a:ext cx="1226509" cy="126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503929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09E28B5-97BE-48BC-A63E-14B8B4175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74145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09E28B5-97BE-48BC-A63E-14B8B4175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72362F-D643-4AEA-809A-349F9524B096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 err="1"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95400" y="701675"/>
            <a:ext cx="10872185" cy="4001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400" y="1774031"/>
            <a:ext cx="10872186" cy="44632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279048" y="6340054"/>
            <a:ext cx="9288538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>
              <a:defRPr lang="de-DE" sz="1050" smtClean="0">
                <a:solidFill>
                  <a:srgbClr val="777777"/>
                </a:solidFill>
              </a:defRPr>
            </a:lvl1pPr>
          </a:lstStyle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68189" y="6340054"/>
            <a:ext cx="584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z="1050" smtClean="0">
                <a:solidFill>
                  <a:srgbClr val="777777"/>
                </a:solidFill>
                <a:latin typeface="+mj-lt"/>
              </a:defRPr>
            </a:lvl1pPr>
          </a:lstStyle>
          <a:p>
            <a:fld id="{AC3CAD45-BB7C-4C31-9EF4-1481A176AA6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empower - DO NOT DELETE!!!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4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217C0E-F466-4E59-8BBC-7079D5C8D3F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11" y="6405060"/>
            <a:ext cx="1339957" cy="226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98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54" r:id="rId9"/>
    <p:sldLayoutId id="2147483655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69200" indent="-169200" algn="l" defTabSz="914400" rtl="0" eaLnBrk="1" latinLnBrk="0" hangingPunct="1">
        <a:lnSpc>
          <a:spcPts val="1700"/>
        </a:lnSpc>
        <a:spcBef>
          <a:spcPts val="17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1pPr>
      <a:lvl2pPr marL="360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540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7560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9576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 baseline="0">
          <a:solidFill>
            <a:schemeClr val="tx1"/>
          </a:solidFill>
          <a:latin typeface="+mj-lt"/>
          <a:ea typeface="+mn-ea"/>
          <a:cs typeface="+mn-cs"/>
        </a:defRPr>
      </a:lvl5pPr>
      <a:lvl6pPr marL="1267200" indent="-151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6pPr>
      <a:lvl7pPr marL="1483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7pPr>
      <a:lvl8pPr marL="1699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8pPr>
      <a:lvl9pPr marL="1915200" indent="-169200" algn="l" defTabSz="914400" rtl="0" eaLnBrk="1" latinLnBrk="0" hangingPunct="1">
        <a:lnSpc>
          <a:spcPts val="1700"/>
        </a:lnSpc>
        <a:spcBef>
          <a:spcPts val="1700"/>
        </a:spcBef>
        <a:buFont typeface="Symbol" pitchFamily="18" charset="2"/>
        <a:buChar char="-"/>
        <a:defRPr sz="14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pos="7287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orient="horz" pos="4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office.com/e/JZ92Xyw4eR" TargetMode="External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CC2CA9-9C39-63F5-589F-23BD3AD931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7600" y="1773238"/>
            <a:ext cx="4100512" cy="865643"/>
          </a:xfrm>
        </p:spPr>
        <p:txBody>
          <a:bodyPr/>
          <a:lstStyle/>
          <a:p>
            <a:r>
              <a:rPr lang="tr-TR" b="1"/>
              <a:t>DD Field Service Organization Management</a:t>
            </a:r>
            <a:endParaRPr lang="en-GB" b="1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BA5949-799F-5EB3-7B6C-1E41DDE7BE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12674" y="2895600"/>
            <a:ext cx="6948461" cy="338554"/>
          </a:xfrm>
        </p:spPr>
        <p:txBody>
          <a:bodyPr/>
          <a:lstStyle/>
          <a:p>
            <a:r>
              <a:rPr lang="tr-TR" dirty="0"/>
              <a:t>13.04.2023</a:t>
            </a:r>
          </a:p>
        </p:txBody>
      </p:sp>
    </p:spTree>
    <p:extLst>
      <p:ext uri="{BB962C8B-B14F-4D97-AF65-F5344CB8AC3E}">
        <p14:creationId xmlns:p14="http://schemas.microsoft.com/office/powerpoint/2010/main" val="4201327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309727C3-8AD7-4E6D-AF86-8EB39B3FB3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0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309727C3-8AD7-4E6D-AF86-8EB39B3FB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9FB56B-12A9-435D-AB85-0A27FD0AC94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0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Inform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095EF20F-3FC4-443B-ACB9-E203832EE3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04" y="1536988"/>
            <a:ext cx="10873208" cy="318924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square" lIns="72000" tIns="36000" rIns="72000" bIns="3600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Rechteck 344">
            <a:extLst>
              <a:ext uri="{FF2B5EF4-FFF2-40B4-BE49-F238E27FC236}">
                <a16:creationId xmlns:a16="http://schemas.microsoft.com/office/drawing/2014/main" id="{49E0E6A3-499D-4152-807C-E721D0124A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9" y="1933261"/>
            <a:ext cx="5328591" cy="288253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R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eason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err="1">
                <a:solidFill>
                  <a:schemeClr val="bg1"/>
                </a:solidFill>
                <a:latin typeface="Arial" panose="020B0604020202020204" pitchFamily="34" charset="0"/>
              </a:rPr>
              <a:t>for</a:t>
            </a:r>
            <a:r>
              <a:rPr lang="tr-TR" sz="1200" b="1">
                <a:solidFill>
                  <a:schemeClr val="bg1"/>
                </a:solidFill>
                <a:latin typeface="Arial" panose="020B0604020202020204" pitchFamily="34" charset="0"/>
              </a:rPr>
              <a:t> Project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losure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hteck 385">
            <a:extLst>
              <a:ext uri="{FF2B5EF4-FFF2-40B4-BE49-F238E27FC236}">
                <a16:creationId xmlns:a16="http://schemas.microsoft.com/office/drawing/2014/main" id="{87A37D7D-7E73-4745-A202-997C62F51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564269"/>
            <a:ext cx="6408712" cy="2656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ate</a:t>
            </a: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: 13.04.2023                          Project Name: Saha Servis Yönetimi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FAF885-0D61-475B-B9B2-7455B3C284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8" y="2319150"/>
            <a:ext cx="5328590" cy="1368152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Rotalamanın başarıyla yapılması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Proje hedeflerinin tamamlanması</a:t>
            </a:r>
          </a:p>
        </p:txBody>
      </p:sp>
      <p:sp>
        <p:nvSpPr>
          <p:cNvPr id="17" name="Rechteck 308">
            <a:extLst>
              <a:ext uri="{FF2B5EF4-FFF2-40B4-BE49-F238E27FC236}">
                <a16:creationId xmlns:a16="http://schemas.microsoft.com/office/drawing/2014/main" id="{AF7F5ACD-9836-458E-A972-8DDC22530A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933262"/>
            <a:ext cx="5328592" cy="267072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Detail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311">
            <a:extLst>
              <a:ext uri="{FF2B5EF4-FFF2-40B4-BE49-F238E27FC236}">
                <a16:creationId xmlns:a16="http://schemas.microsoft.com/office/drawing/2014/main" id="{6F4F9F1B-CE27-4EA2-85CB-37BE6954E2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2574784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Spons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9" name="Rechteck 313">
            <a:extLst>
              <a:ext uri="{FF2B5EF4-FFF2-40B4-BE49-F238E27FC236}">
                <a16:creationId xmlns:a16="http://schemas.microsoft.com/office/drawing/2014/main" id="{B1DD0977-1874-40A3-8C68-117783DF2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2574784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1000" kern="0">
                <a:solidFill>
                  <a:prstClr val="black"/>
                </a:solidFill>
                <a:latin typeface="Arial"/>
                <a:cs typeface="Arial" pitchFamily="34" charset="0"/>
              </a:rPr>
              <a:t>Zeki Kalaycıla</a:t>
            </a:r>
            <a:r>
              <a:rPr lang="tr-TR" sz="10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r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0" name="Rechteck 311">
            <a:extLst>
              <a:ext uri="{FF2B5EF4-FFF2-40B4-BE49-F238E27FC236}">
                <a16:creationId xmlns:a16="http://schemas.microsoft.com/office/drawing/2014/main" id="{61DF76CF-4B1D-4FE8-A722-6A51F149D1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2868528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Lead </a:t>
            </a: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usiness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" name="Rechteck 311">
            <a:extLst>
              <a:ext uri="{FF2B5EF4-FFF2-40B4-BE49-F238E27FC236}">
                <a16:creationId xmlns:a16="http://schemas.microsoft.com/office/drawing/2014/main" id="{B9BC46C7-70C4-430A-A43E-F1C6A1B3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3156560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Manage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2" name="Rechteck 311">
            <a:extLst>
              <a:ext uri="{FF2B5EF4-FFF2-40B4-BE49-F238E27FC236}">
                <a16:creationId xmlns:a16="http://schemas.microsoft.com/office/drawing/2014/main" id="{0F4F9841-DB97-4646-919B-F477AD7E8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3438880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Start &amp; End Date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" name="Rechteck 313">
            <a:extLst>
              <a:ext uri="{FF2B5EF4-FFF2-40B4-BE49-F238E27FC236}">
                <a16:creationId xmlns:a16="http://schemas.microsoft.com/office/drawing/2014/main" id="{94E2E33B-0B1A-4DFF-B643-3CEA65A98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2868528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niz Kandemir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4" name="Rechteck 313">
            <a:extLst>
              <a:ext uri="{FF2B5EF4-FFF2-40B4-BE49-F238E27FC236}">
                <a16:creationId xmlns:a16="http://schemas.microsoft.com/office/drawing/2014/main" id="{1A9D8D2C-A8E9-4EB1-8A8B-7BB9DA9215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3156560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İlayda Demirçubuk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5" name="Rechteck 313">
            <a:extLst>
              <a:ext uri="{FF2B5EF4-FFF2-40B4-BE49-F238E27FC236}">
                <a16:creationId xmlns:a16="http://schemas.microsoft.com/office/drawing/2014/main" id="{31DA096F-E1F0-4FEA-9A7A-05F0D5EBD1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3438880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7.2022-04.2023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2" name="Rechteck 311">
            <a:extLst>
              <a:ext uri="{FF2B5EF4-FFF2-40B4-BE49-F238E27FC236}">
                <a16:creationId xmlns:a16="http://schemas.microsoft.com/office/drawing/2014/main" id="{891B43FE-54DF-47B8-A2EA-EF54234B1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2286752"/>
            <a:ext cx="2664296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ject ID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3" name="Rechteck 313">
            <a:extLst>
              <a:ext uri="{FF2B5EF4-FFF2-40B4-BE49-F238E27FC236}">
                <a16:creationId xmlns:a16="http://schemas.microsoft.com/office/drawing/2014/main" id="{C68F3923-2A16-4C91-836C-EF16F64841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4808" y="2286752"/>
            <a:ext cx="2599184" cy="216024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1000" kern="0">
                <a:solidFill>
                  <a:prstClr val="black"/>
                </a:solidFill>
                <a:latin typeface="Arial"/>
                <a:cs typeface="Arial" pitchFamily="34" charset="0"/>
              </a:rPr>
              <a:t>22-60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6" name="Rechteck 308">
            <a:extLst>
              <a:ext uri="{FF2B5EF4-FFF2-40B4-BE49-F238E27FC236}">
                <a16:creationId xmlns:a16="http://schemas.microsoft.com/office/drawing/2014/main" id="{C056DAF5-E196-4782-A7A1-FAACC6948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893" y="3809602"/>
            <a:ext cx="5335488" cy="26563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Overview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15">
            <a:extLst>
              <a:ext uri="{FF2B5EF4-FFF2-40B4-BE49-F238E27FC236}">
                <a16:creationId xmlns:a16="http://schemas.microsoft.com/office/drawing/2014/main" id="{14E05CFB-84ED-4C0C-905A-0AA598AA9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893" y="4202119"/>
            <a:ext cx="5335488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b="1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Saha Servis Yönetimi Projesi teknisyenlerimizin ve servislerin ev ziyaretlerinin optimum rotalama ile veriminin arttırılma projesidir. </a:t>
            </a: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Proje ile nihai müşterilerin memnuniyeti arttırılmıştır. </a:t>
            </a: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cs typeface="Arial" pitchFamily="34" charset="0"/>
              </a:rPr>
              <a:t>Proje tek bir tıkla tüm saha organizasyonunu görüntüleyebileceğimiz </a:t>
            </a:r>
            <a:r>
              <a:rPr lang="tr-TR" sz="1200" kern="0" dirty="0" err="1">
                <a:solidFill>
                  <a:prstClr val="black"/>
                </a:solidFill>
                <a:cs typeface="Arial" pitchFamily="34" charset="0"/>
              </a:rPr>
              <a:t>Nosi</a:t>
            </a:r>
            <a:r>
              <a:rPr lang="tr-TR" sz="1200" kern="0" dirty="0">
                <a:solidFill>
                  <a:prstClr val="black"/>
                </a:solidFill>
                <a:cs typeface="Arial" pitchFamily="34" charset="0"/>
              </a:rPr>
              <a:t> (</a:t>
            </a:r>
            <a:r>
              <a:rPr lang="tr-TR" sz="1200" kern="0" dirty="0" err="1">
                <a:solidFill>
                  <a:prstClr val="black"/>
                </a:solidFill>
                <a:cs typeface="Arial" pitchFamily="34" charset="0"/>
              </a:rPr>
              <a:t>Sezinsoft</a:t>
            </a:r>
            <a:r>
              <a:rPr lang="tr-TR" sz="1200" kern="0" dirty="0">
                <a:solidFill>
                  <a:prstClr val="black"/>
                </a:solidFill>
                <a:cs typeface="Arial" pitchFamily="34" charset="0"/>
              </a:rPr>
              <a:t> yazılımı) ile entegrasyonları içermektedir. 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Rechteck 308">
            <a:extLst>
              <a:ext uri="{FF2B5EF4-FFF2-40B4-BE49-F238E27FC236}">
                <a16:creationId xmlns:a16="http://schemas.microsoft.com/office/drawing/2014/main" id="{63B1179B-0E19-4707-B146-159034621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8" y="3809602"/>
            <a:ext cx="5407688" cy="26563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roject </a:t>
            </a:r>
            <a:r>
              <a:rPr lang="tr-TR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Goal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 15">
            <a:extLst>
              <a:ext uri="{FF2B5EF4-FFF2-40B4-BE49-F238E27FC236}">
                <a16:creationId xmlns:a16="http://schemas.microsoft.com/office/drawing/2014/main" id="{DCF01C23-ACF7-4E0E-9725-124053753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8224" y="4230304"/>
            <a:ext cx="5335488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Aşağıdaki ekranların yapımı</a:t>
            </a: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sv-SE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Extern servis kota yönetimi</a:t>
            </a:r>
            <a:endParaRPr lang="tr-TR" sz="1200" kern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Intern servislerin kota yönetiminin yeniden düzenlenmesi </a:t>
            </a: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Seros Nosi </a:t>
            </a: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e</a:t>
            </a: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ntegrasyonunun kurulması</a:t>
            </a: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Extern servis </a:t>
            </a: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z</a:t>
            </a: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aman yönetimi</a:t>
            </a: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Intern servis </a:t>
            </a: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z</a:t>
            </a:r>
            <a:r>
              <a:rPr lang="en-US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aman yönetimi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4" name="Metin kutusu 3">
            <a:extLst>
              <a:ext uri="{FF2B5EF4-FFF2-40B4-BE49-F238E27FC236}">
                <a16:creationId xmlns:a16="http://schemas.microsoft.com/office/drawing/2014/main" id="{0A667314-04B3-46AF-9A1F-FAAE3F175BD2}"/>
              </a:ext>
            </a:extLst>
          </p:cNvPr>
          <p:cNvSpPr txBox="1"/>
          <p:nvPr/>
        </p:nvSpPr>
        <p:spPr>
          <a:xfrm>
            <a:off x="9121318" y="1613516"/>
            <a:ext cx="233927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tr-TR" sz="12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Project</a:t>
            </a:r>
            <a:r>
              <a:rPr lang="tr-TR" sz="1400" b="1" dirty="0"/>
              <a:t> </a:t>
            </a:r>
            <a:r>
              <a:rPr lang="tr-TR" sz="12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Category</a:t>
            </a:r>
            <a:r>
              <a:rPr lang="tr-TR" sz="1200" b="1">
                <a:solidFill>
                  <a:prstClr val="black"/>
                </a:solidFill>
                <a:latin typeface="Arial"/>
                <a:cs typeface="Arial" pitchFamily="34" charset="0"/>
              </a:rPr>
              <a:t>: Tactical</a:t>
            </a:r>
            <a:endParaRPr lang="tr-TR" sz="1200" b="1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317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77064DD-6D3D-45A2-9D66-409BB371D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</a:t>
            </a:r>
            <a:r>
              <a:rPr lang="en-US" dirty="0"/>
              <a:t>Challenges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8" name="Rechteck 308">
            <a:extLst>
              <a:ext uri="{FF2B5EF4-FFF2-40B4-BE49-F238E27FC236}">
                <a16:creationId xmlns:a16="http://schemas.microsoft.com/office/drawing/2014/main" id="{8216A3F0-86C3-4400-9B1C-84554DB94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 Elements Of The Project Went Wrong</a:t>
            </a: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F0C6214-22E1-467D-B94F-4A6E6F2C1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2" y="1997536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Canlıya geçiş planı ve tarihleri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Pilot geçişin teknik olarak uygun olmaması 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Beklenmeyen felaket ve 11 ile etki eden deprem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Yazılımcının işten ayrılması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Rechteck 308">
            <a:extLst>
              <a:ext uri="{FF2B5EF4-FFF2-40B4-BE49-F238E27FC236}">
                <a16:creationId xmlns:a16="http://schemas.microsoft.com/office/drawing/2014/main" id="{DB6284EC-55ED-467F-A8A2-83461E1C67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Specific Processes Need Improvement</a:t>
            </a: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3F6353F7-2458-475A-AC37-A942FC3B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İş birimi ve sahanın canlı geçiş öngörülerini daha net ve önceden iletmesi  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Paydaş iletişiminin daha etkin yapılması 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BRD (Business </a:t>
            </a:r>
            <a:r>
              <a:rPr lang="tr-TR" sz="12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Requirement</a:t>
            </a: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tr-TR" sz="12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Document</a:t>
            </a: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)’</a:t>
            </a:r>
            <a:r>
              <a:rPr lang="tr-TR" sz="12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nin</a:t>
            </a: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daha etkin hazırlanması, içeriğinin daha kapsamlı ve güçlü olması 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İşlerin takvime yansımasının kontrolü ve iletişiminin daha etken yapılması 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14" name="Rechteck 308">
            <a:extLst>
              <a:ext uri="{FF2B5EF4-FFF2-40B4-BE49-F238E27FC236}">
                <a16:creationId xmlns:a16="http://schemas.microsoft.com/office/drawing/2014/main" id="{92BEF7FB-DB54-46FF-B469-23552B35D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ow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an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hese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ocesses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B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I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mproved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I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n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F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uture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06DA0A39-3E1F-42E4-804F-92698BDF32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4241139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Tüm SSH projelerinin canlıya çıkış tarihlerinin sezona denk gelmemesi için proaktif olunması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Pilot geçişin en baştan proje planına detaylarıyla dahil edilmesi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Rechteck 308">
            <a:extLst>
              <a:ext uri="{FF2B5EF4-FFF2-40B4-BE49-F238E27FC236}">
                <a16:creationId xmlns:a16="http://schemas.microsoft.com/office/drawing/2014/main" id="{BA6F1BD0-9142-42B2-BE3A-E656676CCD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1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W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r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K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ey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oblem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eas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(i.e., budgeting, scheduling, etc.</a:t>
            </a: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6C1496B9-A88E-4FBB-AEB1-5ABD2D84FB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1" y="4241139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Canlıya çıkış zamanlaması</a:t>
            </a:r>
          </a:p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2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BRD’de</a:t>
            </a: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gelişime ve yoruma açık noktalar olması</a:t>
            </a:r>
          </a:p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0" lang="tr-T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ütçe kısıtı</a:t>
            </a:r>
          </a:p>
          <a:p>
            <a:pPr marL="88900" marR="0" lvl="0" indent="-8890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Tedarikçi maliyetinin beklenenden yüksek çıkması</a:t>
            </a:r>
            <a:endParaRPr lang="en-US" alt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546100" lvl="1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  <a:defRPr/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5A2FD050-33A6-DF19-04DA-68216E91EA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25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77064DD-6D3D-45A2-9D66-409BB371D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</a:t>
            </a:r>
            <a:r>
              <a:rPr lang="en-US" dirty="0"/>
              <a:t>Highlights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Rechteck 308">
            <a:extLst>
              <a:ext uri="{FF2B5EF4-FFF2-40B4-BE49-F238E27FC236}">
                <a16:creationId xmlns:a16="http://schemas.microsoft.com/office/drawing/2014/main" id="{8216A3F0-86C3-4400-9B1C-84554DB94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W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r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he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M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ajor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ccomplishment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F0C6214-22E1-467D-B94F-4A6E6F2C1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400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Müşterilere </a:t>
            </a:r>
            <a:r>
              <a:rPr lang="tr-TR" sz="12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sortie</a:t>
            </a: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(ev ziyareti) saatleri hakkında net bilgi sağlamak,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Nosi</a:t>
            </a: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 ekranlarından teknikerlere ve servislere dair verileri görüntülemek  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Rechteck 308">
            <a:extLst>
              <a:ext uri="{FF2B5EF4-FFF2-40B4-BE49-F238E27FC236}">
                <a16:creationId xmlns:a16="http://schemas.microsoft.com/office/drawing/2014/main" id="{DB6284EC-55ED-467F-A8A2-83461E1C67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565136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What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W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as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F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ound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o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B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articularly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U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seful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 T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o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ccomplish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the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P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roject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3F6353F7-2458-475A-AC37-A942FC3B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608" y="1986678"/>
            <a:ext cx="5220977" cy="154263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 dirty="0">
                <a:solidFill>
                  <a:prstClr val="black"/>
                </a:solidFill>
                <a:latin typeface="Arial"/>
                <a:cs typeface="Arial" pitchFamily="34" charset="0"/>
              </a:rPr>
              <a:t>Servis atama algoritmasının değişmesi ile müşteri memnuniyeti arttırımı </a:t>
            </a: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14" name="Rechteck 308">
            <a:extLst>
              <a:ext uri="{FF2B5EF4-FFF2-40B4-BE49-F238E27FC236}">
                <a16:creationId xmlns:a16="http://schemas.microsoft.com/office/drawing/2014/main" id="{92BEF7FB-DB54-46FF-B469-23552B35D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echnical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tr-TR" sz="12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</a:rPr>
              <a:t>hallenges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06DA0A39-3E1F-42E4-804F-92698BDF32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753" y="4241139"/>
            <a:ext cx="5220977" cy="169499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Servis atama algoritmasının değişmesi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Geliştirme yapılan sistem olan Demirdöküm Seros sisteminin eski yapısı nedeni ile yeni geliştirmelere açık olmaması</a:t>
            </a: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 NOSI ile entegrasyonda SOAP servis kullanılmasının ek efora sebep olması</a:t>
            </a:r>
            <a:endParaRPr lang="en-GB" sz="1200" kern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marL="88900" indent="-88900"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FontTx/>
              <a:buChar char="-"/>
            </a:pPr>
            <a:r>
              <a:rPr lang="tr-TR" sz="1200" kern="0">
                <a:solidFill>
                  <a:prstClr val="black"/>
                </a:solidFill>
                <a:latin typeface="Arial"/>
                <a:cs typeface="Arial" pitchFamily="34" charset="0"/>
              </a:rPr>
              <a:t>Seros sisteminin teknisyen atama, hizmet sonlandırma vb süreçlerde iş mantığının karmaşık kurgulanmasından ötürü, geliştirmelerin başka projeleri engellememesi için ekstra efor gösterilmesi</a:t>
            </a:r>
            <a:endParaRPr lang="en-GB" sz="1200" kern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Rechteck 308">
            <a:extLst>
              <a:ext uri="{FF2B5EF4-FFF2-40B4-BE49-F238E27FC236}">
                <a16:creationId xmlns:a16="http://schemas.microsoft.com/office/drawing/2014/main" id="{BA6F1BD0-9142-42B2-BE3A-E656676CCD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0" y="3819597"/>
            <a:ext cx="5220977" cy="2800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Additional Comments</a:t>
            </a: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6C1496B9-A88E-4FBB-AEB1-5ABD2D84FB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961" y="4241139"/>
            <a:ext cx="5220977" cy="1694999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8000" tIns="46800" rIns="0" bIns="46800"/>
          <a:lstStyle/>
          <a:p>
            <a:pPr eaLnBrk="0" fontAlgn="base" hangingPunct="0"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</a:pPr>
            <a:endParaRPr lang="en-US" sz="1200" kern="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8153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o 6">
            <a:extLst>
              <a:ext uri="{FF2B5EF4-FFF2-40B4-BE49-F238E27FC236}">
                <a16:creationId xmlns:a16="http://schemas.microsoft.com/office/drawing/2014/main" id="{17754BDA-7893-418A-B433-08E7D38599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2699876"/>
              </p:ext>
            </p:extLst>
          </p:nvPr>
        </p:nvGraphicFramePr>
        <p:xfrm>
          <a:off x="914400" y="1773238"/>
          <a:ext cx="10653713" cy="409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9122">
                  <a:extLst>
                    <a:ext uri="{9D8B030D-6E8A-4147-A177-3AD203B41FA5}">
                      <a16:colId xmlns:a16="http://schemas.microsoft.com/office/drawing/2014/main" val="516673724"/>
                    </a:ext>
                  </a:extLst>
                </a:gridCol>
                <a:gridCol w="2453878">
                  <a:extLst>
                    <a:ext uri="{9D8B030D-6E8A-4147-A177-3AD203B41FA5}">
                      <a16:colId xmlns:a16="http://schemas.microsoft.com/office/drawing/2014/main" val="3280067492"/>
                    </a:ext>
                  </a:extLst>
                </a:gridCol>
                <a:gridCol w="2982516">
                  <a:extLst>
                    <a:ext uri="{9D8B030D-6E8A-4147-A177-3AD203B41FA5}">
                      <a16:colId xmlns:a16="http://schemas.microsoft.com/office/drawing/2014/main" val="916510440"/>
                    </a:ext>
                  </a:extLst>
                </a:gridCol>
                <a:gridCol w="2718197">
                  <a:extLst>
                    <a:ext uri="{9D8B030D-6E8A-4147-A177-3AD203B41FA5}">
                      <a16:colId xmlns:a16="http://schemas.microsoft.com/office/drawing/2014/main" val="3385013472"/>
                    </a:ext>
                  </a:extLst>
                </a:gridCol>
              </a:tblGrid>
              <a:tr h="895620"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ptio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complished?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Y / 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mments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887140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edefler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tr-TR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200"/>
                        <a:t>Müşteri sortie saatlerinin net bir şekilde müşterilere iletilebiliyor olunması</a:t>
                      </a:r>
                      <a:endParaRPr lang="tr-T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/>
                        <a:t>Evet</a:t>
                      </a:r>
                    </a:p>
                    <a:p>
                      <a:pPr algn="ctr"/>
                      <a:endParaRPr lang="tr-T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/>
                        <a:t>-</a:t>
                      </a:r>
                    </a:p>
                    <a:p>
                      <a:pPr algn="ctr"/>
                      <a:endParaRPr lang="tr-T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3666500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ağlanan Fayda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tr-TR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200" dirty="0"/>
                        <a:t>Müşteri memnuniyeti</a:t>
                      </a:r>
                    </a:p>
                    <a:p>
                      <a:endParaRPr lang="tr-T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/>
                        <a:t>Evet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587383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Çıktıla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200" dirty="0" err="1"/>
                        <a:t>Nosi</a:t>
                      </a:r>
                      <a:r>
                        <a:rPr lang="tr-TR" sz="1200" dirty="0"/>
                        <a:t> ile çift yönlü entegrasy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dirty="0"/>
                        <a:t>Ev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103612"/>
                  </a:ext>
                </a:extLst>
              </a:tr>
              <a:tr h="79963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lana Uyum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tr-TR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200" dirty="0"/>
                        <a:t>31.10.2022 canlı geçiş hedef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dirty="0"/>
                        <a:t>Hayı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200" dirty="0"/>
                        <a:t>11.04.2023’te canlıya geçildi. (sezonsallık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115417"/>
                  </a:ext>
                </a:extLst>
              </a:tr>
            </a:tbl>
          </a:graphicData>
        </a:graphic>
      </p:graphicFrame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B77064DD-6D3D-45A2-9D66-409BB371D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Project </a:t>
            </a:r>
            <a:r>
              <a:rPr lang="tr-TR" dirty="0" err="1"/>
              <a:t>Completion</a:t>
            </a:r>
            <a:r>
              <a:rPr lang="tr-TR" dirty="0"/>
              <a:t> </a:t>
            </a:r>
            <a:r>
              <a:rPr lang="tr-TR" dirty="0" err="1"/>
              <a:t>Criteria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839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o 6">
            <a:extLst>
              <a:ext uri="{FF2B5EF4-FFF2-40B4-BE49-F238E27FC236}">
                <a16:creationId xmlns:a16="http://schemas.microsoft.com/office/drawing/2014/main" id="{17754BDA-7893-418A-B433-08E7D38599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52588719"/>
              </p:ext>
            </p:extLst>
          </p:nvPr>
        </p:nvGraphicFramePr>
        <p:xfrm>
          <a:off x="838200" y="1773238"/>
          <a:ext cx="10729913" cy="3408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6997">
                  <a:extLst>
                    <a:ext uri="{9D8B030D-6E8A-4147-A177-3AD203B41FA5}">
                      <a16:colId xmlns:a16="http://schemas.microsoft.com/office/drawing/2014/main" val="516673724"/>
                    </a:ext>
                  </a:extLst>
                </a:gridCol>
                <a:gridCol w="2588403">
                  <a:extLst>
                    <a:ext uri="{9D8B030D-6E8A-4147-A177-3AD203B41FA5}">
                      <a16:colId xmlns:a16="http://schemas.microsoft.com/office/drawing/2014/main" val="3280067492"/>
                    </a:ext>
                  </a:extLst>
                </a:gridCol>
                <a:gridCol w="2886874">
                  <a:extLst>
                    <a:ext uri="{9D8B030D-6E8A-4147-A177-3AD203B41FA5}">
                      <a16:colId xmlns:a16="http://schemas.microsoft.com/office/drawing/2014/main" val="916510440"/>
                    </a:ext>
                  </a:extLst>
                </a:gridCol>
                <a:gridCol w="2737639">
                  <a:extLst>
                    <a:ext uri="{9D8B030D-6E8A-4147-A177-3AD203B41FA5}">
                      <a16:colId xmlns:a16="http://schemas.microsoft.com/office/drawing/2014/main" val="3385013472"/>
                    </a:ext>
                  </a:extLst>
                </a:gridCol>
              </a:tblGrid>
              <a:tr h="926567"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ptio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ask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wner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ue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ate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887140"/>
                  </a:ext>
                </a:extLst>
              </a:tr>
              <a:tr h="82726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lı geçiş yönetimi</a:t>
                      </a:r>
                      <a:endParaRPr lang="tr-TR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100" dirty="0"/>
                        <a:t>Sezonsallık etkisi ile canlı geçişin ötelenmes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/>
                        <a:t>İlayda Demirçubu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/>
                        <a:t>04.20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3666500"/>
                  </a:ext>
                </a:extLst>
              </a:tr>
              <a:tr h="82726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ütçe kısıtı</a:t>
                      </a:r>
                      <a:endParaRPr lang="tr-TR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100" dirty="0"/>
                        <a:t>Bütçenin esnetilmes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/>
                        <a:t>Altan Gündüz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/>
                        <a:t>09.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587383"/>
                  </a:ext>
                </a:extLst>
              </a:tr>
              <a:tr h="827265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100" b="1" dirty="0"/>
                        <a:t>Test fazında </a:t>
                      </a:r>
                      <a:r>
                        <a:rPr lang="tr-T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eliştirme sunucusunun ayrılması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tr-TR" sz="1100" dirty="0"/>
                        <a:t>Sorumlu yazılımcının işten ayrılma kararı ile işin devrolmas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/>
                        <a:t>İzzet İ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/>
                        <a:t>03.20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9271189"/>
                  </a:ext>
                </a:extLst>
              </a:tr>
            </a:tbl>
          </a:graphicData>
        </a:graphic>
      </p:graphicFrame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Outstanding</a:t>
            </a:r>
            <a:r>
              <a:rPr lang="tr-TR" dirty="0"/>
              <a:t> </a:t>
            </a:r>
            <a:r>
              <a:rPr lang="tr-TR" dirty="0" err="1"/>
              <a:t>Items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Metin Yer Tutucusu 6">
            <a:extLst>
              <a:ext uri="{FF2B5EF4-FFF2-40B4-BE49-F238E27FC236}">
                <a16:creationId xmlns:a16="http://schemas.microsoft.com/office/drawing/2014/main" id="{ED654C2D-8479-48F9-AA7B-E3A35DDED6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5194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o 6">
            <a:extLst>
              <a:ext uri="{FF2B5EF4-FFF2-40B4-BE49-F238E27FC236}">
                <a16:creationId xmlns:a16="http://schemas.microsoft.com/office/drawing/2014/main" id="{17754BDA-7893-418A-B433-08E7D38599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978296"/>
              </p:ext>
            </p:extLst>
          </p:nvPr>
        </p:nvGraphicFramePr>
        <p:xfrm>
          <a:off x="695400" y="2133600"/>
          <a:ext cx="10653713" cy="289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3293">
                  <a:extLst>
                    <a:ext uri="{9D8B030D-6E8A-4147-A177-3AD203B41FA5}">
                      <a16:colId xmlns:a16="http://schemas.microsoft.com/office/drawing/2014/main" val="516673724"/>
                    </a:ext>
                  </a:extLst>
                </a:gridCol>
                <a:gridCol w="3038364">
                  <a:extLst>
                    <a:ext uri="{9D8B030D-6E8A-4147-A177-3AD203B41FA5}">
                      <a16:colId xmlns:a16="http://schemas.microsoft.com/office/drawing/2014/main" val="328006749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916510440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750514031"/>
                    </a:ext>
                  </a:extLst>
                </a:gridCol>
                <a:gridCol w="1516856">
                  <a:extLst>
                    <a:ext uri="{9D8B030D-6E8A-4147-A177-3AD203B41FA5}">
                      <a16:colId xmlns:a16="http://schemas.microsoft.com/office/drawing/2014/main" val="3385013472"/>
                    </a:ext>
                  </a:extLst>
                </a:gridCol>
              </a:tblGrid>
              <a:tr h="1039468"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ption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commended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Action</a:t>
                      </a: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sponsible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ate</a:t>
                      </a:r>
                      <a:r>
                        <a:rPr lang="tr-TR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ised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latinLnBrk="0" hangingPunct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tr-TR" sz="12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atus</a:t>
                      </a:r>
                      <a:endParaRPr lang="tr-TR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887140"/>
                  </a:ext>
                </a:extLst>
              </a:tr>
              <a:tr h="928066">
                <a:tc>
                  <a:txBody>
                    <a:bodyPr/>
                    <a:lstStyle/>
                    <a:p>
                      <a:pPr algn="l"/>
                      <a:r>
                        <a:rPr lang="tr-TR" sz="11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ezonsallık</a:t>
                      </a:r>
                      <a:endParaRPr lang="tr-TR" sz="11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tr-TR" sz="1100" dirty="0">
                          <a:latin typeface="+mn-lt"/>
                        </a:rPr>
                        <a:t>Tüm SSH projelerinde sahaya dokunan bir içerik varsa sezon içerisinde geçiş yapılmaması için planlama yapılacak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>
                          <a:latin typeface="+mn-lt"/>
                        </a:rPr>
                        <a:t>İlayda Demirçubu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>
                          <a:latin typeface="+mn-lt"/>
                        </a:rPr>
                        <a:t>01.10.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>
                          <a:latin typeface="+mn-lt"/>
                        </a:rPr>
                        <a:t>Do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3666500"/>
                  </a:ext>
                </a:extLst>
              </a:tr>
              <a:tr h="928066">
                <a:tc>
                  <a:txBody>
                    <a:bodyPr/>
                    <a:lstStyle/>
                    <a:p>
                      <a:pPr algn="l"/>
                      <a:r>
                        <a:rPr lang="tr-TR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üçlü BRD (Business </a:t>
                      </a:r>
                      <a:r>
                        <a:rPr lang="tr-TR" sz="1100" b="1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quirement</a:t>
                      </a:r>
                      <a:r>
                        <a:rPr lang="tr-TR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tr-TR" sz="1100" b="1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cument</a:t>
                      </a:r>
                      <a:r>
                        <a:rPr lang="tr-TR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tr-TR" sz="1100">
                          <a:latin typeface="+mn-lt"/>
                        </a:rPr>
                        <a:t>BRD’de yoruma açık nokta kalmayacak şekilde zenginleştirilmesi</a:t>
                      </a:r>
                      <a:endParaRPr lang="tr-TR" sz="11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>
                          <a:latin typeface="+mn-lt"/>
                        </a:rPr>
                        <a:t>İlayda Demirçubuk</a:t>
                      </a:r>
                    </a:p>
                    <a:p>
                      <a:pPr algn="ctr"/>
                      <a:endParaRPr lang="tr-TR" sz="11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>
                          <a:latin typeface="+mn-lt"/>
                        </a:rPr>
                        <a:t>01.08.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sz="1100" dirty="0">
                          <a:latin typeface="+mn-lt"/>
                        </a:rPr>
                        <a:t>Do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8731400"/>
                  </a:ext>
                </a:extLst>
              </a:tr>
            </a:tbl>
          </a:graphicData>
        </a:graphic>
      </p:graphicFrame>
      <p:sp>
        <p:nvSpPr>
          <p:cNvPr id="4" name="Başlık 3">
            <a:extLst>
              <a:ext uri="{FF2B5EF4-FFF2-40B4-BE49-F238E27FC236}">
                <a16:creationId xmlns:a16="http://schemas.microsoft.com/office/drawing/2014/main" id="{D4782422-4BBB-47EE-9756-E30D3EC2A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Lessons</a:t>
            </a:r>
            <a:r>
              <a:rPr lang="tr-TR" dirty="0"/>
              <a:t> </a:t>
            </a:r>
            <a:r>
              <a:rPr lang="tr-TR" dirty="0" err="1"/>
              <a:t>Learned</a:t>
            </a:r>
            <a:endParaRPr lang="tr-TR" dirty="0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98B8916-7F87-4CF4-90B1-1FD8E2A40B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442A9B4F-5FBB-422A-B59F-FB20D4B24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77802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E1954-387B-BE43-051B-F002D1F86E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3CAD45-BB7C-4C31-9EF4-1481A176AA67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5" name="Picture 4" descr="A picture containing text, screenshot, font, document&#10;&#10;Description automatically generated">
            <a:extLst>
              <a:ext uri="{FF2B5EF4-FFF2-40B4-BE49-F238E27FC236}">
                <a16:creationId xmlns:a16="http://schemas.microsoft.com/office/drawing/2014/main" id="{F749FCFA-E447-29C1-B3AD-23A74395F7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29" y="152400"/>
            <a:ext cx="6019333" cy="66294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A9694A5-89DC-63D0-065B-BD30C6CED921}"/>
              </a:ext>
            </a:extLst>
          </p:cNvPr>
          <p:cNvSpPr txBox="1"/>
          <p:nvPr/>
        </p:nvSpPr>
        <p:spPr>
          <a:xfrm>
            <a:off x="7188012" y="838200"/>
            <a:ext cx="42672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Sadece</a:t>
            </a:r>
            <a:r>
              <a:rPr lang="en-GB" b="1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1 </a:t>
            </a:r>
            <a:r>
              <a:rPr lang="en-GB" b="1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dakika</a:t>
            </a:r>
            <a:r>
              <a:rPr lang="en-GB" b="1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GB" b="1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yırarak</a:t>
            </a:r>
            <a:r>
              <a:rPr lang="tr-TR" b="1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, bu projenin yönetimine dair geribildirimlerinizi paylaşır mısınız?</a:t>
            </a:r>
            <a:endParaRPr lang="tr-TR" b="1" dirty="0">
              <a:hlinkClick r:id="rId3"/>
            </a:endParaRPr>
          </a:p>
          <a:p>
            <a:r>
              <a:rPr lang="en-GB" dirty="0">
                <a:hlinkClick r:id="rId3"/>
              </a:rPr>
              <a:t>https://forms.office.com/e/JZ92Xyw4eR</a:t>
            </a:r>
            <a:r>
              <a:rPr lang="tr-TR" dirty="0"/>
              <a:t> </a:t>
            </a:r>
            <a:endParaRPr lang="en-GB" dirty="0"/>
          </a:p>
        </p:txBody>
      </p:sp>
      <p:pic>
        <p:nvPicPr>
          <p:cNvPr id="9" name="Picture 8" descr="A qr code on a green background&#10;&#10;Description automatically generated with medium confidence">
            <a:extLst>
              <a:ext uri="{FF2B5EF4-FFF2-40B4-BE49-F238E27FC236}">
                <a16:creationId xmlns:a16="http://schemas.microsoft.com/office/drawing/2014/main" id="{4F570EF4-95E5-2D70-BF7A-C554EC72C6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9456" y="2212975"/>
            <a:ext cx="4024313" cy="402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713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Logo auf Finanzfolien deaktivieren;Deaktivieren Sie mit einem Klick das Logo auf den Finanzfolien."/>
  <p:tag name="MIO_USER_INPUT_OPTIONAL" val=" "/>
  <p:tag name="MIO_USER_INPUT_FIXED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Logo auf Finanzfolien deaktivieren;Deaktivieren Sie mit einem Klick das Logo auf den Finanzfolien."/>
  <p:tag name="MIO_USER_INPUT_OPTIONAL" val=" "/>
  <p:tag name="MIO_USER_INPUT_FIXED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OMi9CSCODH.q82_rPR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C3UMBDpm87tla6g5T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FALLBACK_LAYOUT" val="9"/>
  <p:tag name="MIO_SHOW_DATE" val="False"/>
  <p:tag name="MIO_SHOW_FOOTER" val="False"/>
  <p:tag name="MIO_SHOW_PAGENUMBER" val="True"/>
  <p:tag name="MIO_AVOID_BLANK_LAYOUT" val="True"/>
  <p:tag name="MIO_CD_LAYOUT_VALID_AREA" val="True"/>
  <p:tag name="MIO_NUMBER_OF_VALID_LAYOUTS" val="10"/>
  <p:tag name="MIO_HDS" val="True"/>
  <p:tag name="MIO_SKIPVERSION" val="01.01.0001 00:00:00"/>
  <p:tag name="MIO_EKGUID" val="ac6b6af0-82fc-492f-8d1e-8815123489b7"/>
  <p:tag name="MIO_UPDATE" val="True"/>
  <p:tag name="MIO_VERSION" val="17.04.2018 11:00:16"/>
  <p:tag name="MIO_DBID" val="90957D0D-7A67-44BA-9BAA-E7FCAB30649B"/>
  <p:tag name="MIO_LASTDOWNLOADED" val="08.05.2018 15:47:02"/>
  <p:tag name="MIO_OBJECTNAME" val="Master Vaillant Group 16:9"/>
  <p:tag name="MIO_CDID" val="adad0675-16be-42fc-8c63-3512b1eb2b6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Master Vaillant Group">
  <a:themeElements>
    <a:clrScheme name="Vaillant Group">
      <a:dk1>
        <a:sysClr val="windowText" lastClr="000000"/>
      </a:dk1>
      <a:lt1>
        <a:sysClr val="window" lastClr="FFFFFF"/>
      </a:lt1>
      <a:dk2>
        <a:srgbClr val="00887D"/>
      </a:dk2>
      <a:lt2>
        <a:srgbClr val="D7D7D8"/>
      </a:lt2>
      <a:accent1>
        <a:srgbClr val="7FB3AD"/>
      </a:accent1>
      <a:accent2>
        <a:srgbClr val="ACCCC8"/>
      </a:accent2>
      <a:accent3>
        <a:srgbClr val="BBBBBB"/>
      </a:accent3>
      <a:accent4>
        <a:srgbClr val="9B9B9B"/>
      </a:accent4>
      <a:accent5>
        <a:srgbClr val="2A507C"/>
      </a:accent5>
      <a:accent6>
        <a:srgbClr val="85796B"/>
      </a:accent6>
      <a:hlink>
        <a:srgbClr val="7FB3AD"/>
      </a:hlink>
      <a:folHlink>
        <a:srgbClr val="BBBBBB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4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Light Blue">
      <a:srgbClr val="0087C0"/>
    </a:custClr>
    <a:custClr name="Yellow">
      <a:srgbClr val="E3B853"/>
    </a:custClr>
    <a:custClr name="Purple">
      <a:srgbClr val="85225E"/>
    </a:custClr>
    <a:custClr name="Beige">
      <a:srgbClr val="85796B"/>
    </a:custClr>
    <a:custClr name="Custom Color 5">
      <a:srgbClr val="FFFFFF"/>
    </a:custClr>
    <a:custClr name="Custom Color 6">
      <a:srgbClr val="FFFFFF"/>
    </a:custClr>
    <a:custClr name="Custom Color 7">
      <a:srgbClr val="FFFFFF"/>
    </a:custClr>
    <a:custClr name="Custom Color 8">
      <a:srgbClr val="FFFFFF"/>
    </a:custClr>
    <a:custClr name="Custom Color 9">
      <a:srgbClr val="FFFFFF"/>
    </a:custClr>
    <a:custClr name="Custom Color 10">
      <a:srgbClr val="FFFFFF"/>
    </a:custClr>
    <a:custClr name="Light Blue 70">
      <a:srgbClr val="61A7D4"/>
    </a:custClr>
    <a:custClr name="Yellow 70">
      <a:srgbClr val="ECCD88"/>
    </a:custClr>
    <a:custClr name="Purple 70">
      <a:srgbClr val="A26288"/>
    </a:custClr>
    <a:custClr name="Beige 70">
      <a:srgbClr val="A69C90"/>
    </a:custClr>
    <a:custClr name="Custom Color 12">
      <a:srgbClr val="FFFFFF"/>
    </a:custClr>
    <a:custClr name="Custom Color 13">
      <a:srgbClr val="FFFFFF"/>
    </a:custClr>
    <a:custClr name="Custom Color 14">
      <a:srgbClr val="FFFFFF"/>
    </a:custClr>
    <a:custClr name="Custom Color 15">
      <a:srgbClr val="FFFFFF"/>
    </a:custClr>
    <a:custClr name="Custom Color 16">
      <a:srgbClr val="FFFFFF"/>
    </a:custClr>
    <a:custClr name="Custom Color 17">
      <a:srgbClr val="FFFFFF"/>
    </a:custClr>
    <a:custClr name="Light Blue 40">
      <a:srgbClr val="91BFE1"/>
    </a:custClr>
    <a:custClr name="Yellow 40">
      <a:srgbClr val="F4E2BB"/>
    </a:custClr>
    <a:custClr name="Purple 40">
      <a:srgbClr val="C6A4BA"/>
    </a:custClr>
    <a:custClr name="Beige 40">
      <a:srgbClr val="CAC3BB"/>
    </a:custClr>
    <a:custClr name="Custom Color 22">
      <a:srgbClr val="FFFFFF"/>
    </a:custClr>
    <a:custClr name="Custom Color 23">
      <a:srgbClr val="FFFFFF"/>
    </a:custClr>
    <a:custClr name="Custom Color 24">
      <a:srgbClr val="FFFFFF"/>
    </a:custClr>
    <a:custClr name="Custom Color 25">
      <a:srgbClr val="FFFFFF"/>
    </a:custClr>
    <a:custClr name="Custom Color 26">
      <a:srgbClr val="FFFFFF"/>
    </a:custClr>
    <a:custClr name="Custom Color 27">
      <a:srgbClr val="FFFFFF"/>
    </a:custClr>
    <a:custClr name="Light Blue 20">
      <a:srgbClr val="D5E5F4"/>
    </a:custClr>
    <a:custClr name="Yellow 20">
      <a:srgbClr val="F9F1DE"/>
    </a:custClr>
    <a:custClr name="Purple 20">
      <a:srgbClr val="E1D0DD"/>
    </a:custClr>
    <a:custClr name="Beige 20">
      <a:srgbClr val="E4E0DC"/>
    </a:custClr>
    <a:custClr name="Custom Color 32">
      <a:srgbClr val="FFFFFF"/>
    </a:custClr>
    <a:custClr name="Custom Color 33">
      <a:srgbClr val="FFFFFF"/>
    </a:custClr>
    <a:custClr name="Custom Color 34">
      <a:srgbClr val="FFFFFF"/>
    </a:custClr>
    <a:custClr name="Custom Color 35">
      <a:srgbClr val="FFFFFF"/>
    </a:custClr>
    <a:custClr name="Custom Color 36">
      <a:srgbClr val="FFFFFF"/>
    </a:custClr>
    <a:custClr name="Custom Color 37">
      <a:srgbClr val="FFFFFF"/>
    </a:custClr>
  </a:custClrLst>
  <a:extLst>
    <a:ext uri="{05A4C25C-085E-4340-85A3-A5531E510DB2}">
      <thm15:themeFamily xmlns:thm15="http://schemas.microsoft.com/office/thememl/2012/main" name="Anpassung PPT-MAster.pptx" id="{971C4BF3-EAD7-4131-93FD-46656314016F}" vid="{7AC89102-2399-4A6F-A9B3-FF8AEB00B85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elge" ma:contentTypeID="0x010100D70F7712F7202F43B2C7DEC1DF8C2AB3" ma:contentTypeVersion="4" ma:contentTypeDescription="Yeni belge oluşturun." ma:contentTypeScope="" ma:versionID="4d00eb0c61d0dbf86856a5d8ba2bc5be">
  <xsd:schema xmlns:xsd="http://www.w3.org/2001/XMLSchema" xmlns:xs="http://www.w3.org/2001/XMLSchema" xmlns:p="http://schemas.microsoft.com/office/2006/metadata/properties" xmlns:ns2="eb018b39-cb8e-4313-b823-5c5c1278761d" xmlns:ns3="21e67754-9133-4f43-830c-e1e71c638340" targetNamespace="http://schemas.microsoft.com/office/2006/metadata/properties" ma:root="true" ma:fieldsID="9695c8b55a1c8d2637266dbe699aa6a5" ns2:_="" ns3:_="">
    <xsd:import namespace="eb018b39-cb8e-4313-b823-5c5c1278761d"/>
    <xsd:import namespace="21e67754-9133-4f43-830c-e1e71c6383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018b39-cb8e-4313-b823-5c5c127876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67754-9133-4f43-830c-e1e71c63834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ylaşılanla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Ayrıntıları ile Paylaşıld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İçerik Türü"/>
        <xsd:element ref="dc:title" minOccurs="0" maxOccurs="1" ma:index="4" ma:displayName="Başlı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32FC339-0D90-4948-8682-518C95749A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018b39-cb8e-4313-b823-5c5c1278761d"/>
    <ds:schemaRef ds:uri="21e67754-9133-4f43-830c-e1e71c6383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4760BF9-81A7-4BE9-84A3-6A2697AA32F4}">
  <ds:schemaRefs>
    <ds:schemaRef ds:uri="http://schemas.microsoft.com/office/2006/documentManagement/types"/>
    <ds:schemaRef ds:uri="21e67754-9133-4f43-830c-e1e71c638340"/>
    <ds:schemaRef ds:uri="http://purl.org/dc/dcmitype/"/>
    <ds:schemaRef ds:uri="http://schemas.openxmlformats.org/package/2006/metadata/core-properties"/>
    <ds:schemaRef ds:uri="http://www.w3.org/XML/1998/namespace"/>
    <ds:schemaRef ds:uri="eb018b39-cb8e-4313-b823-5c5c1278761d"/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CAB3D58-0FE1-4D75-920C-B7E61399CA2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aillant Group_16_9_NEW_201208</Template>
  <TotalTime>19694</TotalTime>
  <Words>580</Words>
  <Application>Microsoft Office PowerPoint</Application>
  <PresentationFormat>Geniş ekran</PresentationFormat>
  <Paragraphs>126</Paragraphs>
  <Slides>8</Slides>
  <Notes>1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8</vt:i4>
      </vt:variant>
    </vt:vector>
  </HeadingPairs>
  <TitlesOfParts>
    <vt:vector size="14" baseType="lpstr">
      <vt:lpstr>Arial</vt:lpstr>
      <vt:lpstr>Calibri</vt:lpstr>
      <vt:lpstr>Segoe UI</vt:lpstr>
      <vt:lpstr>Symbol</vt:lpstr>
      <vt:lpstr>Master Vaillant Group</vt:lpstr>
      <vt:lpstr>think-cell Slide</vt:lpstr>
      <vt:lpstr>DD Field Service Organization Management</vt:lpstr>
      <vt:lpstr>Project Information</vt:lpstr>
      <vt:lpstr>Project Challenges</vt:lpstr>
      <vt:lpstr>Project Highlights</vt:lpstr>
      <vt:lpstr>Project Completion Criteria</vt:lpstr>
      <vt:lpstr>Outstanding Items</vt:lpstr>
      <vt:lpstr>Lessons Learned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tatus Reporting</dc:title>
  <dc:creator>Sahin, Gulcin</dc:creator>
  <cp:lastModifiedBy>Mazlumoglu, Abdurrahim</cp:lastModifiedBy>
  <cp:revision>23</cp:revision>
  <dcterms:created xsi:type="dcterms:W3CDTF">2021-01-13T14:15:58Z</dcterms:created>
  <dcterms:modified xsi:type="dcterms:W3CDTF">2023-10-27T20:4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0F7712F7202F43B2C7DEC1DF8C2AB3</vt:lpwstr>
  </property>
</Properties>
</file>